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6"/>
  </p:notesMasterIdLst>
  <p:handoutMasterIdLst>
    <p:handoutMasterId r:id="rId67"/>
  </p:handoutMasterIdLst>
  <p:sldIdLst>
    <p:sldId id="441" r:id="rId35"/>
    <p:sldId id="418" r:id="rId36"/>
    <p:sldId id="427" r:id="rId37"/>
    <p:sldId id="419" r:id="rId38"/>
    <p:sldId id="411" r:id="rId39"/>
    <p:sldId id="412" r:id="rId40"/>
    <p:sldId id="399" r:id="rId41"/>
    <p:sldId id="400" r:id="rId42"/>
    <p:sldId id="402" r:id="rId43"/>
    <p:sldId id="401" r:id="rId44"/>
    <p:sldId id="408" r:id="rId45"/>
    <p:sldId id="409" r:id="rId46"/>
    <p:sldId id="425" r:id="rId47"/>
    <p:sldId id="420" r:id="rId48"/>
    <p:sldId id="424" r:id="rId49"/>
    <p:sldId id="410" r:id="rId50"/>
    <p:sldId id="421" r:id="rId51"/>
    <p:sldId id="422" r:id="rId52"/>
    <p:sldId id="423" r:id="rId53"/>
    <p:sldId id="428" r:id="rId54"/>
    <p:sldId id="442" r:id="rId55"/>
    <p:sldId id="430" r:id="rId56"/>
    <p:sldId id="431" r:id="rId57"/>
    <p:sldId id="432" r:id="rId58"/>
    <p:sldId id="433" r:id="rId59"/>
    <p:sldId id="434" r:id="rId60"/>
    <p:sldId id="435" r:id="rId61"/>
    <p:sldId id="436" r:id="rId62"/>
    <p:sldId id="437" r:id="rId63"/>
    <p:sldId id="438" r:id="rId64"/>
    <p:sldId id="439" r:id="rId6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1"/>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76581" autoAdjust="0"/>
  </p:normalViewPr>
  <p:slideViewPr>
    <p:cSldViewPr snapToGrid="0">
      <p:cViewPr varScale="1">
        <p:scale>
          <a:sx n="64" d="100"/>
          <a:sy n="64" d="100"/>
        </p:scale>
        <p:origin x="1286" y="67"/>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handoutMaster" Target="handoutMasters/handoutMaster1.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4/1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4/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a:t>
            </a:fld>
            <a:endParaRPr lang="en-US"/>
          </a:p>
        </p:txBody>
      </p:sp>
    </p:spTree>
    <p:extLst>
      <p:ext uri="{BB962C8B-B14F-4D97-AF65-F5344CB8AC3E}">
        <p14:creationId xmlns:p14="http://schemas.microsoft.com/office/powerpoint/2010/main" val="3867034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4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2556094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4/1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4/1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4/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4/15/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4/15/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4/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4/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4/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4/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4/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4/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4/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4/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4/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15/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7"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3"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1"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15/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4/1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4/1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0.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1.xml"/><Relationship Id="rId1" Type="http://schemas.openxmlformats.org/officeDocument/2006/relationships/slideLayout" Target="../slideLayouts/slideLayout756.xml"/><Relationship Id="rId5" Type="http://schemas.openxmlformats.org/officeDocument/2006/relationships/image" Target="../media/image87.pn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hyperlink" Target="mailto:mmishal@directionstraining.com"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tinyurl.com/535DG0319"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a:xfrm>
            <a:off x="267682" y="3877290"/>
            <a:ext cx="8202549" cy="1703429"/>
          </a:xfrm>
        </p:spPr>
        <p:txBody>
          <a:bodyPr/>
          <a:lstStyle/>
          <a:p>
            <a:r>
              <a:rPr lang="en-US" sz="2800" dirty="0"/>
              <a:t>Arturo Hamilton | IT &amp; Cloud Consultant</a:t>
            </a:r>
          </a:p>
          <a:p>
            <a:r>
              <a:rPr lang="en-US" sz="2800" dirty="0"/>
              <a:t>MCPS, MCSA, MCSE,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ohd Mishal</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p:txBody>
          <a:bodyPr/>
          <a:lstStyle/>
          <a:p>
            <a:r>
              <a:rPr lang="en-US" dirty="0"/>
              <a:t>Please email </a:t>
            </a:r>
            <a:r>
              <a:rPr lang="en-US" dirty="0">
                <a:hlinkClick r:id="rId3"/>
              </a:rPr>
              <a:t>dstolts@microsoft.com</a:t>
            </a:r>
            <a:endParaRPr lang="en-US" dirty="0"/>
          </a:p>
          <a:p>
            <a:r>
              <a:rPr lang="en-US" dirty="0">
                <a:hlinkClick r:id="rId4"/>
              </a:rPr>
              <a:t>mmishal@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42176" y="4353052"/>
            <a:ext cx="6273418" cy="1794661"/>
          </a:xfrm>
        </p:spPr>
        <p:txBody>
          <a:bodyPr/>
          <a:lstStyle/>
          <a:p>
            <a:pPr lvl="0"/>
            <a:r>
              <a:rPr lang="en-US" dirty="0"/>
              <a:t>URL: </a:t>
            </a:r>
            <a:r>
              <a:rPr lang="en-US" u="sng" dirty="0">
                <a:hlinkClick r:id="rId3"/>
              </a:rPr>
              <a:t>https://tinyurl.com/535DG0319</a:t>
            </a:r>
            <a:r>
              <a:rPr lang="en-US" dirty="0"/>
              <a:t>.</a:t>
            </a:r>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712044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428</TotalTime>
  <Words>1118</Words>
  <Application>Microsoft Office PowerPoint</Application>
  <PresentationFormat>Widescreen</PresentationFormat>
  <Paragraphs>215</Paragraphs>
  <Slides>31</Slides>
  <Notes>31</Notes>
  <HiddenSlides>1</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1</vt:i4>
      </vt:variant>
    </vt:vector>
  </HeadingPairs>
  <TitlesOfParts>
    <vt:vector size="81"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Leave Comments About Exam Questions</vt:lpstr>
      <vt:lpstr>Additional Resources</vt:lpstr>
      <vt:lpstr>Request Your Exam Voucher Today!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Arturo Hamilton</cp:lastModifiedBy>
  <cp:revision>121</cp:revision>
  <dcterms:created xsi:type="dcterms:W3CDTF">2015-09-15T13:10:44Z</dcterms:created>
  <dcterms:modified xsi:type="dcterms:W3CDTF">2018-04-15T15:0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Ref">
    <vt:lpwstr>https://api.informationprotection.azure.com/api/511ce6e0-0e57-4c9f-acd1-4154a6b4c914</vt:lpwstr>
  </property>
  <property fmtid="{D5CDD505-2E9C-101B-9397-08002B2CF9AE}" pid="5" name="MSIP_Label_75212135-9234-47a0-a836-df5f1b370b97_Owner">
    <vt:lpwstr>ahamilton@mstecs.com</vt:lpwstr>
  </property>
  <property fmtid="{D5CDD505-2E9C-101B-9397-08002B2CF9AE}" pid="6" name="MSIP_Label_75212135-9234-47a0-a836-df5f1b370b97_SetDate">
    <vt:lpwstr>2018-04-15T16:04:07.2985746+01:00</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Sensitivity">
    <vt:lpwstr>Public</vt:lpwstr>
  </property>
</Properties>
</file>